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</p:sldMasterIdLst>
  <p:sldIdLst>
    <p:sldId id="256" r:id="rId2"/>
    <p:sldId id="257" r:id="rId3"/>
    <p:sldId id="258" r:id="rId4"/>
    <p:sldId id="260" r:id="rId5"/>
    <p:sldId id="274" r:id="rId6"/>
    <p:sldId id="261" r:id="rId7"/>
    <p:sldId id="263" r:id="rId8"/>
    <p:sldId id="275" r:id="rId9"/>
    <p:sldId id="276" r:id="rId10"/>
    <p:sldId id="264" r:id="rId11"/>
    <p:sldId id="265" r:id="rId12"/>
    <p:sldId id="272" r:id="rId13"/>
    <p:sldId id="273" r:id="rId14"/>
    <p:sldId id="277" r:id="rId15"/>
    <p:sldId id="278" r:id="rId16"/>
    <p:sldId id="279" r:id="rId17"/>
  </p:sldIdLst>
  <p:sldSz cx="12192000" cy="6858000"/>
  <p:notesSz cx="6858000" cy="9144000"/>
  <p:custDataLst>
    <p:tags r:id="rId18"/>
  </p:custDataLst>
  <p:defaultTextStyle>
    <a:defPPr>
      <a:defRPr lang="en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848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00" y="3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ürkiye’dek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astaneleri</a:t>
            </a:r>
            <a:r>
              <a:rPr lang="en-US" sz="18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Dağılımı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T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BA5-6740-81E3-77CA789F4997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BA5-6740-81E3-77CA789F4997}"/>
              </c:ext>
            </c:extLst>
          </c:dPt>
          <c:dPt>
            <c:idx val="2"/>
            <c:bubble3D val="0"/>
            <c:spPr>
              <a:solidFill>
                <a:schemeClr val="accent3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BA5-6740-81E3-77CA789F4997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BA5-6740-81E3-77CA789F4997}"/>
                </c:ext>
              </c:extLst>
            </c:dLbl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BA5-6740-81E3-77CA789F4997}"/>
                </c:ext>
              </c:extLst>
            </c:dLbl>
            <c:dLbl>
              <c:idx val="2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BA5-6740-81E3-77CA789F49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Özel</c:v>
                </c:pt>
                <c:pt idx="1">
                  <c:v>Kamu</c:v>
                </c:pt>
                <c:pt idx="2">
                  <c:v>Üniversit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60</c:v>
                </c:pt>
                <c:pt idx="1">
                  <c:v>884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A5-6740-81E3-77CA789F49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T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T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729F8-B9E9-094B-B1E0-52DE7CBF04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581FE0-2E94-BA43-BE88-5D62B8C38B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2F5213-672A-9341-A66B-4108502C8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E881A4-6F02-BF40-8DF6-2534FEDBF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708B9-A350-9F4E-9A5B-C4FEDF936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069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B64F0B-0BFE-8A4B-BB31-17896EAEB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BDA34A-B110-4345-8E5D-BB83060CC1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99E610-72C4-2946-A3D7-58C3BA2AA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4B3FCD-E6BE-8146-A8FE-316756A8F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2BB03F-BAA7-314A-ACB6-5001012C3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00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D7DE8A-A002-C344-BA5A-279677BF72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AC67B7-38B0-2C4F-96BA-DE009ADC52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00D463-A8FF-7E4F-B1FB-0452DC3A5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67AD0B-177E-C441-9EB7-813BFC96E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99D22-EE14-6B4A-AF1A-FA01E3513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762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704C4-1D13-C541-A5FB-EDA401B9D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5E45D-7484-B442-937B-C8A9E4D9CD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FFDA4-C5DD-0142-9D8C-B1845FA55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B4448-C4CF-4D4F-970C-18EE8EA2F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ED3FBE-B8CD-AB4D-A4F8-2D48A0DD8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075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97B68-3E1F-F44A-A7EF-7D91455F3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6D629-7460-204C-8950-BD464E5526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F0AC5-E696-1743-BE29-8A353789FD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1A89D1-4967-9849-B277-4710A6366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94D75-7A4B-C242-A637-F9005DFE5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904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7D494-3741-4C4C-A241-C5F223240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041E60-8755-8944-83B1-87257D1A3D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DCDBBB-8EC1-3449-8114-D1D02E8CBC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C7E818-72B9-2941-A071-55A417B43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F004A-7CD0-7A48-AE21-9FDBE5EFD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A02102-AD77-4144-A82D-9FB4581FE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45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5F24D-FE77-A144-889E-954DA55D7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4F6F55-709F-DA46-A8B2-39776D361F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90623D-F5DC-7745-A71C-BABA2A06B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951534-22B5-2D49-AB14-24839D765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D1D2E2-FEF7-C145-9ADA-B049D7846E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224528-4CCF-4545-8184-EB70EE80A5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3580A5-0063-3646-8FDA-AF4287479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C5FDE8-CAF4-AB44-8774-7C16B78AE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637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79A14-472A-874B-B099-18840EEF7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48FBA9-7534-6D4B-879F-4D1ACC5A72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C9E349-1102-BF4B-B548-D304EB21B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EB3593-B8A8-EE46-A03E-ED0D85FA4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3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906123-A069-2049-BE83-1F9232594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51C1F2-B0E0-D14B-B19A-884B5C057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6C84A1-C04C-3949-8EC3-763AFC5F5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914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F3722-4037-5A4B-AA27-422BC0CA4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861978-4F07-B94A-8784-D040CC363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BD03B0-D9E3-1B4D-9758-72BA7C9515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05252F-C946-2643-B065-F670642A8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8AE7A8-362D-C44A-8022-E3B84DE56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C421F6-734B-FA48-803F-1E54EA260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488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B7816-6451-C646-B711-1722DE650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E5820E-823C-2E49-89AB-AD6E34C9FC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2B26FC-5B02-8E4F-B7A5-E433AFC22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681920-9FD9-0049-A4EA-AF0255EEA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5AB56A-620B-E644-A0CE-496DCA0BE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34B7B4-6281-AA42-AFD6-D984C876F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912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950A6B-3FCB-4247-A0A2-AC74DC451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58721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145906-A33D-9B45-8C13-496BBA181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BDD76A-0F47-C042-A6CF-0A16312BEC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C6D74-DCAA-BD4A-AAFD-592D40FF5E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C2BD6E-85A9-4CB3-BB65-96473858D9A4}" type="datetimeFigureOut">
              <a:rPr lang="en-US" smtClean="0"/>
              <a:t>11/20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06D19-8F9C-0F42-965B-770C4150D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540A70-AE68-5B4E-B9E3-7A1AB8352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DE4FD1-D923-4BD4-92A3-E5C82EB31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106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19.emf"/><Relationship Id="rId10" Type="http://schemas.openxmlformats.org/officeDocument/2006/relationships/image" Target="../media/image23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1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2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C1B2F2-9EC5-2A4E-BC2B-76CEFB1FD9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3586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7F373A1-2668-4E52-9FA8-0981048219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868362"/>
            <a:ext cx="9144000" cy="2387600"/>
          </a:xfrm>
        </p:spPr>
        <p:txBody>
          <a:bodyPr vert="horz">
            <a:noAutofit/>
          </a:bodyPr>
          <a:lstStyle/>
          <a:p>
            <a:r>
              <a:rPr lang="en-US" sz="2000" dirty="0"/>
              <a:t>  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F12D2887-41B2-446A-B5B9-A590515FF3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74221"/>
            <a:ext cx="9144000" cy="1655762"/>
          </a:xfrm>
        </p:spPr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astalık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espi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akibindek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3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öz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753097C-17F1-9A41-B867-AE484C3DCCA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47"/>
          <a:stretch/>
        </p:blipFill>
        <p:spPr>
          <a:xfrm>
            <a:off x="3448050" y="1239610"/>
            <a:ext cx="5295900" cy="2853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642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EE601-54F8-2745-BEE3-E920562210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8851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43310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2B</a:t>
            </a:r>
          </a:p>
          <a:p>
            <a:pPr>
              <a:buFont typeface="Wingdings" pitchFamily="2" charset="2"/>
              <a:buChar char="q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Özel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Hastaneler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boneli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elir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model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apasitey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ör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istem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paketler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n-premise / Cloud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istem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eçenekler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omisyon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Kamu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kurumları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d-hoc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istem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urulumu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Wingdings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İçerik Yer Tutucusu 2">
            <a:extLst>
              <a:ext uri="{FF2B5EF4-FFF2-40B4-BE49-F238E27FC236}">
                <a16:creationId xmlns:a16="http://schemas.microsoft.com/office/drawing/2014/main" id="{87038206-064A-ED46-8070-95E846B9CFBD}"/>
              </a:ext>
            </a:extLst>
          </p:cNvPr>
          <p:cNvSpPr txBox="1">
            <a:spLocks/>
          </p:cNvSpPr>
          <p:nvPr/>
        </p:nvSpPr>
        <p:spPr>
          <a:xfrm>
            <a:off x="7428089" y="1825625"/>
            <a:ext cx="371122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2C</a:t>
            </a:r>
          </a:p>
          <a:p>
            <a:pPr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reemium </a:t>
            </a:r>
          </a:p>
          <a:p>
            <a:pPr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İnmey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öneli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işileştirilmiş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çerik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B0B9991-7BF0-D445-9618-380D3790ACE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4096EB13-0627-CC4B-8185-EF7292A2D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 </a:t>
            </a:r>
          </a:p>
        </p:txBody>
      </p:sp>
      <p:sp>
        <p:nvSpPr>
          <p:cNvPr id="17" name="Başlık 1">
            <a:extLst>
              <a:ext uri="{FF2B5EF4-FFF2-40B4-BE49-F238E27FC236}">
                <a16:creationId xmlns:a16="http://schemas.microsoft.com/office/drawing/2014/main" id="{F584A3DD-4A5D-D243-BEC2-CBC00396A1E1}"/>
              </a:ext>
            </a:extLst>
          </p:cNvPr>
          <p:cNvSpPr txBox="1">
            <a:spLocks/>
          </p:cNvSpPr>
          <p:nvPr/>
        </p:nvSpPr>
        <p:spPr>
          <a:xfrm>
            <a:off x="838199" y="5000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Hedef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Pazarımız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9952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0BD025-EA47-B947-98E9-19BBA47652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6228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Rakip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Analizi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48194"/>
            <a:ext cx="4555210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ikayesin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”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oğa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i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İşle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lgoritmalarıyla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naliz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etme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eşhi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önces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verileri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ncelenmes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akip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istem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rken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müdahal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mkanı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3BF9C5-2F9A-6345-BF51-47FEEFFC0D1D}"/>
              </a:ext>
            </a:extLst>
          </p:cNvPr>
          <p:cNvSpPr txBox="1"/>
          <p:nvPr/>
        </p:nvSpPr>
        <p:spPr>
          <a:xfrm>
            <a:off x="925689" y="1580444"/>
            <a:ext cx="4240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troke Shield</a:t>
            </a:r>
          </a:p>
        </p:txBody>
      </p:sp>
      <p:sp>
        <p:nvSpPr>
          <p:cNvPr id="14" name="İçerik Yer Tutucusu 2">
            <a:extLst>
              <a:ext uri="{FF2B5EF4-FFF2-40B4-BE49-F238E27FC236}">
                <a16:creationId xmlns:a16="http://schemas.microsoft.com/office/drawing/2014/main" id="{D7057D25-4C45-3E46-9177-A05D4EA8BA7B}"/>
              </a:ext>
            </a:extLst>
          </p:cNvPr>
          <p:cNvSpPr txBox="1">
            <a:spLocks/>
          </p:cNvSpPr>
          <p:nvPr/>
        </p:nvSpPr>
        <p:spPr>
          <a:xfrm>
            <a:off x="6733677" y="2348194"/>
            <a:ext cx="455521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ikayesin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”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oğa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i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İşle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lgoritmalarıyla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naliz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etme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eşhi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önces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verileri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ncelenmes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akip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istemi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rken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müdahal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mkanı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B4DB44-2A0C-054A-84D9-0B19ED584D6C}"/>
              </a:ext>
            </a:extLst>
          </p:cNvPr>
          <p:cNvSpPr txBox="1"/>
          <p:nvPr/>
        </p:nvSpPr>
        <p:spPr>
          <a:xfrm>
            <a:off x="6733677" y="1580444"/>
            <a:ext cx="5006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Diğ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ağlıkt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Yapay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Zek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Şirketleri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1D79D685-5FCA-C344-8939-6319AB9B10D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A34688D0-FEC2-C045-A6D7-0570B217F01E}"/>
              </a:ext>
            </a:extLst>
          </p:cNvPr>
          <p:cNvGrpSpPr/>
          <p:nvPr/>
        </p:nvGrpSpPr>
        <p:grpSpPr>
          <a:xfrm>
            <a:off x="5079828" y="2297947"/>
            <a:ext cx="694319" cy="2960233"/>
            <a:chOff x="5079828" y="2354124"/>
            <a:chExt cx="694319" cy="2960233"/>
          </a:xfrm>
        </p:grpSpPr>
        <p:pic>
          <p:nvPicPr>
            <p:cNvPr id="17" name="Graphic 16" descr="Checkbox Ticked with solid fill">
              <a:extLst>
                <a:ext uri="{FF2B5EF4-FFF2-40B4-BE49-F238E27FC236}">
                  <a16:creationId xmlns:a16="http://schemas.microsoft.com/office/drawing/2014/main" id="{FB8E68BA-715F-524B-9438-3F24CC53DA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79828" y="2354124"/>
              <a:ext cx="694319" cy="694319"/>
            </a:xfrm>
            <a:prstGeom prst="rect">
              <a:avLst/>
            </a:prstGeom>
          </p:spPr>
        </p:pic>
        <p:pic>
          <p:nvPicPr>
            <p:cNvPr id="30" name="Graphic 29" descr="Checkbox Ticked with solid fill">
              <a:extLst>
                <a:ext uri="{FF2B5EF4-FFF2-40B4-BE49-F238E27FC236}">
                  <a16:creationId xmlns:a16="http://schemas.microsoft.com/office/drawing/2014/main" id="{E19379F8-FE45-C54A-A946-A8C695258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79828" y="3272247"/>
              <a:ext cx="694319" cy="694319"/>
            </a:xfrm>
            <a:prstGeom prst="rect">
              <a:avLst/>
            </a:prstGeom>
          </p:spPr>
        </p:pic>
        <p:pic>
          <p:nvPicPr>
            <p:cNvPr id="31" name="Graphic 30" descr="Checkbox Ticked with solid fill">
              <a:extLst>
                <a:ext uri="{FF2B5EF4-FFF2-40B4-BE49-F238E27FC236}">
                  <a16:creationId xmlns:a16="http://schemas.microsoft.com/office/drawing/2014/main" id="{16B7C543-0203-2743-8052-0ACB74B35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79828" y="3980336"/>
              <a:ext cx="694319" cy="694319"/>
            </a:xfrm>
            <a:prstGeom prst="rect">
              <a:avLst/>
            </a:prstGeom>
          </p:spPr>
        </p:pic>
        <p:pic>
          <p:nvPicPr>
            <p:cNvPr id="32" name="Graphic 31" descr="Checkbox Ticked with solid fill">
              <a:extLst>
                <a:ext uri="{FF2B5EF4-FFF2-40B4-BE49-F238E27FC236}">
                  <a16:creationId xmlns:a16="http://schemas.microsoft.com/office/drawing/2014/main" id="{766DC6D9-21A4-E54C-A42F-48AE072BB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79828" y="4620038"/>
              <a:ext cx="694319" cy="694319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96625C5-8A89-774B-B7E0-63F8ACAE8A4F}"/>
              </a:ext>
            </a:extLst>
          </p:cNvPr>
          <p:cNvGrpSpPr/>
          <p:nvPr/>
        </p:nvGrpSpPr>
        <p:grpSpPr>
          <a:xfrm>
            <a:off x="11045643" y="2297947"/>
            <a:ext cx="694800" cy="2934223"/>
            <a:chOff x="11045643" y="2297947"/>
            <a:chExt cx="694800" cy="2934223"/>
          </a:xfrm>
        </p:grpSpPr>
        <p:pic>
          <p:nvPicPr>
            <p:cNvPr id="21" name="Graphic 20" descr="Checkbox Crossed with solid fill">
              <a:extLst>
                <a:ext uri="{FF2B5EF4-FFF2-40B4-BE49-F238E27FC236}">
                  <a16:creationId xmlns:a16="http://schemas.microsoft.com/office/drawing/2014/main" id="{88CBCB49-BF6F-8740-B5D1-2DB63FA06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045643" y="2297947"/>
              <a:ext cx="694800" cy="694800"/>
            </a:xfrm>
            <a:prstGeom prst="rect">
              <a:avLst/>
            </a:prstGeom>
          </p:spPr>
        </p:pic>
        <p:pic>
          <p:nvPicPr>
            <p:cNvPr id="34" name="Graphic 33" descr="Checkbox Ticked with solid fill">
              <a:extLst>
                <a:ext uri="{FF2B5EF4-FFF2-40B4-BE49-F238E27FC236}">
                  <a16:creationId xmlns:a16="http://schemas.microsoft.com/office/drawing/2014/main" id="{63D4786F-79AC-224E-9799-BFD5496BA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6044" y="3170935"/>
              <a:ext cx="694319" cy="694319"/>
            </a:xfrm>
            <a:prstGeom prst="rect">
              <a:avLst/>
            </a:prstGeom>
          </p:spPr>
        </p:pic>
        <p:pic>
          <p:nvPicPr>
            <p:cNvPr id="35" name="Graphic 34" descr="Checkbox Ticked with solid fill">
              <a:extLst>
                <a:ext uri="{FF2B5EF4-FFF2-40B4-BE49-F238E27FC236}">
                  <a16:creationId xmlns:a16="http://schemas.microsoft.com/office/drawing/2014/main" id="{35A0F226-0904-DE49-B30F-04AF3DDFA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5884" y="3866408"/>
              <a:ext cx="694319" cy="694319"/>
            </a:xfrm>
            <a:prstGeom prst="rect">
              <a:avLst/>
            </a:prstGeom>
          </p:spPr>
        </p:pic>
        <p:pic>
          <p:nvPicPr>
            <p:cNvPr id="36" name="Graphic 35" descr="Checkbox Ticked with solid fill">
              <a:extLst>
                <a:ext uri="{FF2B5EF4-FFF2-40B4-BE49-F238E27FC236}">
                  <a16:creationId xmlns:a16="http://schemas.microsoft.com/office/drawing/2014/main" id="{FAC6DE13-D5AA-6149-B287-B14C1DB66E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45964" y="4537851"/>
              <a:ext cx="694319" cy="6943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922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779480-8FD0-CE4B-BB19-1EEF2A9536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4157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 vert="horz"/>
          <a:lstStyle/>
          <a:p>
            <a:pPr algn="ctr"/>
            <a:r>
              <a:rPr lang="en-US" dirty="0" err="1"/>
              <a:t>Dinlediğiniz</a:t>
            </a:r>
            <a:r>
              <a:rPr lang="en-US" dirty="0"/>
              <a:t> </a:t>
            </a:r>
            <a:r>
              <a:rPr lang="en-US" dirty="0" err="1"/>
              <a:t>için</a:t>
            </a:r>
            <a:r>
              <a:rPr lang="en-US" dirty="0"/>
              <a:t> </a:t>
            </a:r>
            <a:r>
              <a:rPr lang="en-US" dirty="0" err="1"/>
              <a:t>Teşekkür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813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D313EA-62B5-8042-930F-9CEC3C653A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9474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80675" cy="1325563"/>
          </a:xfrm>
        </p:spPr>
        <p:txBody>
          <a:bodyPr vert="horz"/>
          <a:lstStyle/>
          <a:p>
            <a:r>
              <a:rPr lang="en-US" dirty="0" err="1"/>
              <a:t>Takım</a:t>
            </a:r>
            <a:r>
              <a:rPr lang="en-US" dirty="0"/>
              <a:t> </a:t>
            </a:r>
            <a:r>
              <a:rPr lang="en-US" dirty="0" err="1"/>
              <a:t>SFL_ReUnion</a:t>
            </a:r>
            <a:endParaRPr lang="en-US" dirty="0"/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63" y="4309443"/>
            <a:ext cx="4166461" cy="1821481"/>
          </a:xfrm>
        </p:spPr>
        <p:txBody>
          <a:bodyPr/>
          <a:lstStyle/>
          <a:p>
            <a:r>
              <a:rPr lang="en-US" dirty="0" err="1"/>
              <a:t>Eren</a:t>
            </a:r>
            <a:r>
              <a:rPr lang="en-US" dirty="0"/>
              <a:t> GÖKSU	</a:t>
            </a:r>
          </a:p>
          <a:p>
            <a:pPr lvl="1"/>
            <a:r>
              <a:rPr lang="en-US" dirty="0"/>
              <a:t>ODTÜ </a:t>
            </a:r>
            <a:r>
              <a:rPr lang="en-US" dirty="0" err="1"/>
              <a:t>Elektrik</a:t>
            </a:r>
            <a:r>
              <a:rPr lang="en-US" dirty="0"/>
              <a:t> </a:t>
            </a:r>
            <a:r>
              <a:rPr lang="en-US" dirty="0" err="1"/>
              <a:t>Elektronik</a:t>
            </a:r>
            <a:r>
              <a:rPr lang="en-US" dirty="0"/>
              <a:t> </a:t>
            </a:r>
            <a:r>
              <a:rPr lang="en-US" dirty="0" err="1"/>
              <a:t>Müh</a:t>
            </a:r>
            <a:r>
              <a:rPr lang="en-US" dirty="0"/>
              <a:t>. 3.Sınıf</a:t>
            </a:r>
          </a:p>
        </p:txBody>
      </p:sp>
      <p:sp>
        <p:nvSpPr>
          <p:cNvPr id="12" name="İçerik Yer Tutucusu 2">
            <a:extLst>
              <a:ext uri="{FF2B5EF4-FFF2-40B4-BE49-F238E27FC236}">
                <a16:creationId xmlns:a16="http://schemas.microsoft.com/office/drawing/2014/main" id="{83175F41-7B42-0F4B-96FB-D7C549A79731}"/>
              </a:ext>
            </a:extLst>
          </p:cNvPr>
          <p:cNvSpPr txBox="1">
            <a:spLocks/>
          </p:cNvSpPr>
          <p:nvPr/>
        </p:nvSpPr>
        <p:spPr>
          <a:xfrm>
            <a:off x="5020805" y="4309443"/>
            <a:ext cx="2992464" cy="14142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nes TEL </a:t>
            </a:r>
          </a:p>
          <a:p>
            <a:pPr lvl="1"/>
            <a:r>
              <a:rPr lang="en-US" dirty="0" err="1"/>
              <a:t>Hacettepe</a:t>
            </a:r>
            <a:r>
              <a:rPr lang="en-US" dirty="0"/>
              <a:t> </a:t>
            </a:r>
            <a:r>
              <a:rPr lang="en-US" dirty="0" err="1"/>
              <a:t>Tıp</a:t>
            </a:r>
            <a:r>
              <a:rPr lang="en-US" dirty="0"/>
              <a:t> </a:t>
            </a:r>
            <a:r>
              <a:rPr lang="en-US" dirty="0" err="1"/>
              <a:t>Fak</a:t>
            </a:r>
            <a:r>
              <a:rPr lang="en-US" dirty="0"/>
              <a:t>. 5.Sınıf</a:t>
            </a:r>
          </a:p>
        </p:txBody>
      </p:sp>
      <p:sp>
        <p:nvSpPr>
          <p:cNvPr id="13" name="İçerik Yer Tutucusu 2">
            <a:extLst>
              <a:ext uri="{FF2B5EF4-FFF2-40B4-BE49-F238E27FC236}">
                <a16:creationId xmlns:a16="http://schemas.microsoft.com/office/drawing/2014/main" id="{9D6741CB-320C-6142-A26E-925A0243B1D9}"/>
              </a:ext>
            </a:extLst>
          </p:cNvPr>
          <p:cNvSpPr txBox="1">
            <a:spLocks/>
          </p:cNvSpPr>
          <p:nvPr/>
        </p:nvSpPr>
        <p:spPr>
          <a:xfrm>
            <a:off x="8374251" y="4309443"/>
            <a:ext cx="3324386" cy="1821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hmet YÜKSEL </a:t>
            </a:r>
          </a:p>
          <a:p>
            <a:pPr lvl="1"/>
            <a:r>
              <a:rPr lang="en-US" dirty="0"/>
              <a:t>ODTÜ </a:t>
            </a:r>
            <a:r>
              <a:rPr lang="en-US" dirty="0" err="1"/>
              <a:t>Endüstri</a:t>
            </a:r>
            <a:r>
              <a:rPr lang="en-US" dirty="0"/>
              <a:t> </a:t>
            </a:r>
            <a:r>
              <a:rPr lang="en-US" dirty="0" err="1"/>
              <a:t>Müh</a:t>
            </a:r>
            <a:r>
              <a:rPr lang="en-US" dirty="0"/>
              <a:t>. 4.Sınıf</a:t>
            </a:r>
          </a:p>
        </p:txBody>
      </p:sp>
      <p:pic>
        <p:nvPicPr>
          <p:cNvPr id="15" name="Picture 14" descr="A picture containing ground, outdoor, person, person&#10;&#10;Description automatically generated">
            <a:extLst>
              <a:ext uri="{FF2B5EF4-FFF2-40B4-BE49-F238E27FC236}">
                <a16:creationId xmlns:a16="http://schemas.microsoft.com/office/drawing/2014/main" id="{37494B68-C678-CB47-BAAB-2E434EE5E9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36" r="54814" b="31110"/>
          <a:stretch/>
        </p:blipFill>
        <p:spPr>
          <a:xfrm>
            <a:off x="5125800" y="2278251"/>
            <a:ext cx="1940400" cy="1876929"/>
          </a:xfrm>
          <a:prstGeom prst="rect">
            <a:avLst/>
          </a:prstGeom>
        </p:spPr>
      </p:pic>
      <p:pic>
        <p:nvPicPr>
          <p:cNvPr id="17" name="Picture 16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3A5E97A8-7650-7B42-B0F6-084D505018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4218" y="2279580"/>
            <a:ext cx="1875600" cy="1875600"/>
          </a:xfrm>
          <a:prstGeom prst="rect">
            <a:avLst/>
          </a:prstGeom>
        </p:spPr>
      </p:pic>
      <p:pic>
        <p:nvPicPr>
          <p:cNvPr id="19" name="Picture 18" descr="A couple of men posing for a picture&#10;&#10;Description automatically generated with medium confidence">
            <a:extLst>
              <a:ext uri="{FF2B5EF4-FFF2-40B4-BE49-F238E27FC236}">
                <a16:creationId xmlns:a16="http://schemas.microsoft.com/office/drawing/2014/main" id="{B24AF650-9087-BE4A-80BA-9F5FFE8EE42B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4" t="33219" r="51508" b="47452"/>
          <a:stretch/>
        </p:blipFill>
        <p:spPr>
          <a:xfrm>
            <a:off x="1567382" y="2279580"/>
            <a:ext cx="1940400" cy="187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0189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9CC17-3133-D842-95B6-C383508652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4535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B359DF-D65F-834C-90EB-8401512EA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kler</a:t>
            </a:r>
            <a:endParaRPr lang="en-US" dirty="0"/>
          </a:p>
        </p:txBody>
      </p:sp>
      <p:pic>
        <p:nvPicPr>
          <p:cNvPr id="11" name="Content Placeholder 10" descr="Graphical user interface&#10;&#10;Description automatically generated">
            <a:extLst>
              <a:ext uri="{FF2B5EF4-FFF2-40B4-BE49-F238E27FC236}">
                <a16:creationId xmlns:a16="http://schemas.microsoft.com/office/drawing/2014/main" id="{E87DABB3-8B6E-0546-9695-BAC49464E0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858" y="1825625"/>
            <a:ext cx="8894283" cy="4351338"/>
          </a:xfrm>
        </p:spPr>
      </p:pic>
    </p:spTree>
    <p:extLst>
      <p:ext uri="{BB962C8B-B14F-4D97-AF65-F5344CB8AC3E}">
        <p14:creationId xmlns:p14="http://schemas.microsoft.com/office/powerpoint/2010/main" val="35333746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9CC17-3133-D842-95B6-C383508652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F9CC17-3133-D842-95B6-C38350865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B359DF-D65F-834C-90EB-8401512EA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kler</a:t>
            </a:r>
            <a:endParaRPr lang="en-US" dirty="0"/>
          </a:p>
        </p:txBody>
      </p:sp>
      <p:pic>
        <p:nvPicPr>
          <p:cNvPr id="10" name="Content Placeholder 9" descr="Graphical user interface&#10;&#10;Description automatically generated">
            <a:extLst>
              <a:ext uri="{FF2B5EF4-FFF2-40B4-BE49-F238E27FC236}">
                <a16:creationId xmlns:a16="http://schemas.microsoft.com/office/drawing/2014/main" id="{B88FC210-73DE-F54F-8443-F84E69ADCB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7511" y="1825625"/>
            <a:ext cx="8856978" cy="4351338"/>
          </a:xfrm>
        </p:spPr>
      </p:pic>
    </p:spTree>
    <p:extLst>
      <p:ext uri="{BB962C8B-B14F-4D97-AF65-F5344CB8AC3E}">
        <p14:creationId xmlns:p14="http://schemas.microsoft.com/office/powerpoint/2010/main" val="34682795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9CC17-3133-D842-95B6-C383508652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F9CC17-3133-D842-95B6-C38350865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B359DF-D65F-834C-90EB-8401512EA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Ekler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16BFBC5-C7B2-B44F-98E3-1D0AEC28F6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723" y="1825625"/>
            <a:ext cx="8938554" cy="4351338"/>
          </a:xfrm>
        </p:spPr>
      </p:pic>
    </p:spTree>
    <p:extLst>
      <p:ext uri="{BB962C8B-B14F-4D97-AF65-F5344CB8AC3E}">
        <p14:creationId xmlns:p14="http://schemas.microsoft.com/office/powerpoint/2010/main" val="207100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E2EEDF-269B-874B-B356-0A53DC733B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8333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729" y="192123"/>
            <a:ext cx="9958120" cy="1173833"/>
          </a:xfrm>
        </p:spPr>
        <p:txBody>
          <a:bodyPr vert="horz">
            <a:normAutofit/>
          </a:bodyPr>
          <a:lstStyle/>
          <a:p>
            <a:r>
              <a:rPr lang="tr-TR" sz="2800" dirty="0">
                <a:latin typeface="Arial" panose="020B0604020202020204" pitchFamily="34" charset="0"/>
                <a:cs typeface="Arial" panose="020B0604020202020204" pitchFamily="34" charset="0"/>
              </a:rPr>
              <a:t>İnmenin </a:t>
            </a:r>
            <a:r>
              <a:rPr lang="tr-TR" sz="2800" dirty="0" err="1">
                <a:latin typeface="Arial" panose="020B0604020202020204" pitchFamily="34" charset="0"/>
                <a:cs typeface="Arial" panose="020B0604020202020204" pitchFamily="34" charset="0"/>
              </a:rPr>
              <a:t>Mortalite</a:t>
            </a:r>
            <a:r>
              <a:rPr lang="tr-TR" sz="2800" dirty="0">
                <a:latin typeface="Arial" panose="020B0604020202020204" pitchFamily="34" charset="0"/>
                <a:cs typeface="Arial" panose="020B0604020202020204" pitchFamily="34" charset="0"/>
              </a:rPr>
              <a:t> ve </a:t>
            </a:r>
            <a:r>
              <a:rPr lang="tr-TR" sz="2800" dirty="0" err="1">
                <a:latin typeface="Arial" panose="020B0604020202020204" pitchFamily="34" charset="0"/>
                <a:cs typeface="Arial" panose="020B0604020202020204" pitchFamily="34" charset="0"/>
              </a:rPr>
              <a:t>Morbiditesi</a:t>
            </a:r>
            <a:br>
              <a:rPr lang="tr-TR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İçerik Yer Tutucusu 8">
            <a:extLst>
              <a:ext uri="{FF2B5EF4-FFF2-40B4-BE49-F238E27FC236}">
                <a16:creationId xmlns:a16="http://schemas.microsoft.com/office/drawing/2014/main" id="{9F5DF1C0-C0AA-4C1C-9CA3-E8B089B95E4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15" y="3429000"/>
            <a:ext cx="4324408" cy="2732087"/>
          </a:xfrm>
        </p:spPr>
      </p:pic>
      <p:pic>
        <p:nvPicPr>
          <p:cNvPr id="11" name="Resim 10">
            <a:extLst>
              <a:ext uri="{FF2B5EF4-FFF2-40B4-BE49-F238E27FC236}">
                <a16:creationId xmlns:a16="http://schemas.microsoft.com/office/drawing/2014/main" id="{CD87978D-C3CD-48F7-98FD-D52EBEF66C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649" y="3428999"/>
            <a:ext cx="4241421" cy="2732087"/>
          </a:xfrm>
          <a:prstGeom prst="rect">
            <a:avLst/>
          </a:prstGeom>
        </p:spPr>
      </p:pic>
      <p:sp>
        <p:nvSpPr>
          <p:cNvPr id="12" name="Metin kutusu 11">
            <a:extLst>
              <a:ext uri="{FF2B5EF4-FFF2-40B4-BE49-F238E27FC236}">
                <a16:creationId xmlns:a16="http://schemas.microsoft.com/office/drawing/2014/main" id="{15325B5C-057A-4248-BAD7-3608335E11F5}"/>
              </a:ext>
            </a:extLst>
          </p:cNvPr>
          <p:cNvSpPr txBox="1"/>
          <p:nvPr/>
        </p:nvSpPr>
        <p:spPr>
          <a:xfrm>
            <a:off x="1132815" y="1705802"/>
            <a:ext cx="95572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tr-TR" sz="1800" dirty="0">
                <a:latin typeface="Arial" panose="020B0604020202020204" pitchFamily="34" charset="0"/>
                <a:cs typeface="Arial" panose="020B0604020202020204" pitchFamily="34" charset="0"/>
              </a:rPr>
              <a:t>Dünyada 25 yaşın üzerindeki her 4 kişiden 1’i inme riskiyle karşı karşıya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tr-TR" sz="1800" dirty="0">
                <a:latin typeface="Arial" panose="020B0604020202020204" pitchFamily="34" charset="0"/>
                <a:cs typeface="Arial" panose="020B0604020202020204" pitchFamily="34" charset="0"/>
              </a:rPr>
              <a:t>Gelişmiş ülkelerde ölüme en çok neden olan 3. hastalık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Ciddi ve kalıcı engelliğe neden olur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tr-TR" sz="1800" dirty="0">
                <a:latin typeface="Arial" panose="020B0604020202020204" pitchFamily="34" charset="0"/>
                <a:cs typeface="Arial" panose="020B0604020202020204" pitchFamily="34" charset="0"/>
              </a:rPr>
              <a:t>CDC verilerine göre 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Amerika yılda yaklaşık 46 milyar doları inme hastalarına ve tedavisine harcıyor  </a:t>
            </a:r>
            <a:br>
              <a:rPr lang="tr-TR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A2B8BD4-9BDA-F542-B28B-C2385F7DF95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19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9C1E85-48DF-3C4B-8FED-B4B6BB5795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03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44750" y="1658143"/>
            <a:ext cx="8702498" cy="3541714"/>
          </a:xfrm>
        </p:spPr>
        <p:txBody>
          <a:bodyPr/>
          <a:lstStyle/>
          <a:p>
            <a:pPr marL="0" indent="0" algn="ctr">
              <a:buNone/>
            </a:pPr>
            <a:endParaRPr lang="tr-TR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en-US" sz="18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ople with stroke present to health services with a broad range of problems, covering all illness domains over a prolonged period of time. Consequently, it is vital to have an </a:t>
            </a:r>
            <a:r>
              <a:rPr lang="en-US" sz="1800" i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ganised</a:t>
            </a:r>
            <a:r>
              <a:rPr lang="en-US" sz="18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rvice that can respond in a timely and effective way to each person’s unique needs as they arise. The commissioning of a well-led, appropriately trained and skilled workforce providing holistic and compassionate care to patients and their families.</a:t>
            </a:r>
            <a:r>
              <a:rPr lang="tr-TR" sz="18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</a:t>
            </a:r>
            <a:endParaRPr lang="tr-TR" sz="1800" i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tr-TR" sz="1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oyal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llage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ysicians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ional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nical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uidline</a:t>
            </a:r>
            <a:r>
              <a:rPr lang="tr-TR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 </a:t>
            </a:r>
            <a:r>
              <a:rPr lang="tr-TR" sz="20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oke</a:t>
            </a:r>
            <a:r>
              <a:rPr lang="tr-TR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0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BD27424-4EB4-5F49-8910-BC60880B308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58F5158-4065-844E-9896-2A05B78AB12A}"/>
              </a:ext>
            </a:extLst>
          </p:cNvPr>
          <p:cNvSpPr/>
          <p:nvPr/>
        </p:nvSpPr>
        <p:spPr>
          <a:xfrm>
            <a:off x="1535906" y="809978"/>
            <a:ext cx="9120187" cy="5238044"/>
          </a:xfrm>
          <a:prstGeom prst="rect">
            <a:avLst/>
          </a:prstGeom>
          <a:noFill/>
          <a:ln w="38100"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838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3D6467-2A8E-9042-A4EF-0F47805B19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0213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tr-TR" sz="2800" dirty="0"/>
              <a:t>Problem Tanımı </a:t>
            </a:r>
            <a:br>
              <a:rPr lang="en-US" sz="2800" dirty="0"/>
            </a:br>
            <a:endParaRPr lang="en-US" sz="3600" dirty="0"/>
          </a:p>
        </p:txBody>
      </p:sp>
      <p:pic>
        <p:nvPicPr>
          <p:cNvPr id="5" name="İçerik Yer Tutucusu 4">
            <a:extLst>
              <a:ext uri="{FF2B5EF4-FFF2-40B4-BE49-F238E27FC236}">
                <a16:creationId xmlns:a16="http://schemas.microsoft.com/office/drawing/2014/main" id="{84100B6F-1FE9-4252-9EFF-781D6A62A5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98" y="1694587"/>
            <a:ext cx="5314502" cy="3468825"/>
          </a:xfrm>
        </p:spPr>
      </p:pic>
      <p:sp>
        <p:nvSpPr>
          <p:cNvPr id="6" name="Metin kutusu 5">
            <a:extLst>
              <a:ext uri="{FF2B5EF4-FFF2-40B4-BE49-F238E27FC236}">
                <a16:creationId xmlns:a16="http://schemas.microsoft.com/office/drawing/2014/main" id="{6853B0D1-7F1A-4212-B900-E30D5CC38AEB}"/>
              </a:ext>
            </a:extLst>
          </p:cNvPr>
          <p:cNvSpPr txBox="1"/>
          <p:nvPr/>
        </p:nvSpPr>
        <p:spPr>
          <a:xfrm>
            <a:off x="6388610" y="1899299"/>
            <a:ext cx="559388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Risk faktörlerinin yönetim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</a:rPr>
              <a:t>Erken tanı 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ilk 6 saat içinde </a:t>
            </a:r>
            <a:r>
              <a:rPr lang="tr-TR" sz="16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PA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tedavi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emorajik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transformasyon  </a:t>
            </a:r>
            <a:r>
              <a:rPr lang="tr-TR" sz="16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eparinizasyon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kararı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enumbra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varlığı  tedavi stratejisi planlanması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iskli dokunun belirlenmesi  </a:t>
            </a:r>
            <a:r>
              <a:rPr lang="tr-TR" sz="1600" dirty="0" err="1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rebral</a:t>
            </a:r>
            <a:r>
              <a:rPr lang="tr-TR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rezerv kapasitesinin belirlenmesi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EF1D92C-B3FC-0F44-934B-4B5AA77E3CD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826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4319E0-C6F6-ED48-8257-473A9DE4AC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3099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1B7C49-85DB-2441-9BE1-326AA4F3C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Çözüm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Önerilerimiz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8D7DD-59C1-B447-B530-F68189288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1603" y="1814672"/>
            <a:ext cx="4183251" cy="4351338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Risk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farklındalığı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akibind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olaylık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ACB7DBA3-AFB5-0846-839D-7CEA6E7BA63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EFB093C-56F6-D345-937A-95118925247A}"/>
              </a:ext>
            </a:extLst>
          </p:cNvPr>
          <p:cNvGrpSpPr/>
          <p:nvPr/>
        </p:nvGrpSpPr>
        <p:grpSpPr>
          <a:xfrm>
            <a:off x="2114944" y="2568956"/>
            <a:ext cx="7962114" cy="3597054"/>
            <a:chOff x="2278250" y="3130609"/>
            <a:chExt cx="7962114" cy="3597054"/>
          </a:xfrm>
        </p:grpSpPr>
        <p:pic>
          <p:nvPicPr>
            <p:cNvPr id="9" name="İçerik Yer Tutucusu 17" descr="metin içeren bir resim&#10;&#10;Açıklama otomatik olarak oluşturuldu">
              <a:extLst>
                <a:ext uri="{FF2B5EF4-FFF2-40B4-BE49-F238E27FC236}">
                  <a16:creationId xmlns:a16="http://schemas.microsoft.com/office/drawing/2014/main" id="{64FA56E9-D0E6-7546-A8DD-510045D859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103"/>
            <a:stretch/>
          </p:blipFill>
          <p:spPr>
            <a:xfrm>
              <a:off x="2509454" y="3130609"/>
              <a:ext cx="7730910" cy="3597054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06AB001-DC1C-DC48-9EE3-59870954650A}"/>
                </a:ext>
              </a:extLst>
            </p:cNvPr>
            <p:cNvSpPr/>
            <p:nvPr/>
          </p:nvSpPr>
          <p:spPr>
            <a:xfrm>
              <a:off x="2278250" y="3321944"/>
              <a:ext cx="7831386" cy="3405718"/>
            </a:xfrm>
            <a:prstGeom prst="rect">
              <a:avLst/>
            </a:prstGeom>
            <a:noFill/>
            <a:ln w="38100"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C02D62D-75F2-9148-A1DF-73735AD0EB9E}"/>
              </a:ext>
            </a:extLst>
          </p:cNvPr>
          <p:cNvSpPr txBox="1">
            <a:spLocks/>
          </p:cNvSpPr>
          <p:nvPr/>
        </p:nvSpPr>
        <p:spPr>
          <a:xfrm>
            <a:off x="1912749" y="1814672"/>
            <a:ext cx="418325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oktorlara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ardımcı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ir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öz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rken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müdahale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083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038452-8D3D-1F4C-B7F1-7C7856EABC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24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4147"/>
            <a:ext cx="10515600" cy="1325563"/>
          </a:xfrm>
        </p:spPr>
        <p:txBody>
          <a:bodyPr vert="horz">
            <a:normAutofit/>
          </a:bodyPr>
          <a:lstStyle/>
          <a:p>
            <a:r>
              <a:rPr lang="tr-TR" sz="2800" dirty="0">
                <a:latin typeface="Arial" panose="020B0604020202020204" pitchFamily="34" charset="0"/>
                <a:cs typeface="Arial" panose="020B0604020202020204" pitchFamily="34" charset="0"/>
              </a:rPr>
              <a:t>Çözüm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31871"/>
            <a:ext cx="3795968" cy="5036785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q"/>
            </a:pP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etrospektif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ir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çalışma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l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n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geçire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astaları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risk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faktörlerini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espit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edilmes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v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risk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eğerlendirilmesind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ir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ölçe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elirlenmesind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ullanılması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asta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ikayelerindek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ilgilerin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elirlene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risk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faktörler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l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oğa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dil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şle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metodlarını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kullanara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hastanın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in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riskin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öneli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bilgiler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tespit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etme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v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farkındalık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yaratmak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0D48DF4A-A050-AA4A-86F6-1981835DA8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0F6CA4CF-FB50-8940-ACF1-A5C97BE96B2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5" t="1" r="11556" b="2487"/>
          <a:stretch/>
        </p:blipFill>
        <p:spPr>
          <a:xfrm>
            <a:off x="5062452" y="1351998"/>
            <a:ext cx="6864786" cy="415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99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83DFE3-2B14-FE40-9FA9-73F29A3508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2190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Content Placeholder 11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4EF9BE73-D893-EC4A-A9F7-E83ADBFDF8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74"/>
          <a:stretch/>
        </p:blipFill>
        <p:spPr>
          <a:xfrm>
            <a:off x="1426846" y="1690688"/>
            <a:ext cx="9338307" cy="3499643"/>
          </a:xfr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FA6C45F3-1428-9942-A07C-589E07A2D5F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76076C3-BD43-734F-A82A-9FF69095F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 </a:t>
            </a:r>
          </a:p>
        </p:txBody>
      </p:sp>
      <p:sp>
        <p:nvSpPr>
          <p:cNvPr id="8" name="Başlık 1">
            <a:extLst>
              <a:ext uri="{FF2B5EF4-FFF2-40B4-BE49-F238E27FC236}">
                <a16:creationId xmlns:a16="http://schemas.microsoft.com/office/drawing/2014/main" id="{EF1167BA-DC29-C54F-BE3A-BA6DE3FD9DA8}"/>
              </a:ext>
            </a:extLst>
          </p:cNvPr>
          <p:cNvSpPr txBox="1">
            <a:spLocks/>
          </p:cNvSpPr>
          <p:nvPr/>
        </p:nvSpPr>
        <p:spPr>
          <a:xfrm>
            <a:off x="838200" y="44414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2800">
                <a:latin typeface="Arial" panose="020B0604020202020204" pitchFamily="34" charset="0"/>
                <a:cs typeface="Arial" panose="020B0604020202020204" pitchFamily="34" charset="0"/>
              </a:rPr>
              <a:t>Çözüm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559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EE601-54F8-2745-BEE3-E920562210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0164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EE601-54F8-2745-BEE3-E92056221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>
            <a:extLst>
              <a:ext uri="{FF2B5EF4-FFF2-40B4-BE49-F238E27FC236}">
                <a16:creationId xmlns:a16="http://schemas.microsoft.com/office/drawing/2014/main" id="{FE8D3CBA-7B52-4ECD-8D36-A1BB87B26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Hedef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Pazarımız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588" y="1690688"/>
            <a:ext cx="5043310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B2B</a:t>
            </a:r>
          </a:p>
          <a:p>
            <a:pPr>
              <a:buFontTx/>
              <a:buChar char="-"/>
            </a:pPr>
            <a:endParaRPr lang="en-US" dirty="0"/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462438D-A06D-4B4A-9FFD-211D553E9C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0428184"/>
              </p:ext>
            </p:extLst>
          </p:nvPr>
        </p:nvGraphicFramePr>
        <p:xfrm>
          <a:off x="6096000" y="1899091"/>
          <a:ext cx="6114847" cy="4076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5192C5F-C70A-3346-B846-16917CC6BB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88" y="2780047"/>
            <a:ext cx="6183933" cy="18907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98E132F-A398-C540-8581-94AA68BBEC11}"/>
              </a:ext>
            </a:extLst>
          </p:cNvPr>
          <p:cNvSpPr txBox="1"/>
          <p:nvPr/>
        </p:nvSpPr>
        <p:spPr>
          <a:xfrm>
            <a:off x="209131" y="6352278"/>
            <a:ext cx="113447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Kaynak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Tuspe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naliz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4498C572-8E07-7E46-B6C5-00D9C0B1977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9E791B3-1A25-E249-97DB-CE159B147830}"/>
              </a:ext>
            </a:extLst>
          </p:cNvPr>
          <p:cNvSpPr/>
          <p:nvPr/>
        </p:nvSpPr>
        <p:spPr>
          <a:xfrm>
            <a:off x="7265091" y="1899091"/>
            <a:ext cx="3934996" cy="4142935"/>
          </a:xfrm>
          <a:prstGeom prst="rect">
            <a:avLst/>
          </a:prstGeom>
          <a:noFill/>
          <a:ln w="38100"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688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6EE601-54F8-2745-BEE3-E920562210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1000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6EE601-54F8-2745-BEE3-E92056221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4C60C0F-F44E-4D15-8161-C7ED6AB33F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5"/>
            <a:ext cx="5043310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2C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8E132F-A398-C540-8581-94AA68BBEC11}"/>
              </a:ext>
            </a:extLst>
          </p:cNvPr>
          <p:cNvSpPr txBox="1"/>
          <p:nvPr/>
        </p:nvSpPr>
        <p:spPr>
          <a:xfrm>
            <a:off x="209131" y="6352278"/>
            <a:ext cx="113447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Kaynak</a:t>
            </a:r>
            <a:r>
              <a:rPr lang="en-US" sz="1400" dirty="0"/>
              <a:t>: </a:t>
            </a:r>
            <a:r>
              <a:rPr lang="en-US" sz="1400" dirty="0" err="1"/>
              <a:t>Tuspe</a:t>
            </a:r>
            <a:r>
              <a:rPr lang="en-US" sz="1400" dirty="0"/>
              <a:t> </a:t>
            </a:r>
            <a:r>
              <a:rPr lang="en-US" sz="1400" dirty="0" err="1"/>
              <a:t>Analiz</a:t>
            </a:r>
            <a:r>
              <a:rPr lang="en-US" sz="1400" dirty="0"/>
              <a:t> 2018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410275A-2287-CC42-8C75-81C98AC88F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7" t="2591" r="1011" b="3164"/>
          <a:stretch/>
        </p:blipFill>
        <p:spPr>
          <a:xfrm>
            <a:off x="2802608" y="2496662"/>
            <a:ext cx="6881249" cy="3456122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8F70D73-D671-6749-8E69-8B7CE940F3E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8" t="4980" r="17923" b="15067"/>
          <a:stretch/>
        </p:blipFill>
        <p:spPr>
          <a:xfrm>
            <a:off x="10940716" y="5862786"/>
            <a:ext cx="1251284" cy="995214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AFA8DDFD-B6F5-C440-863A-E1B67A49D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 </a:t>
            </a:r>
          </a:p>
        </p:txBody>
      </p:sp>
      <p:sp>
        <p:nvSpPr>
          <p:cNvPr id="16" name="Başlık 1">
            <a:extLst>
              <a:ext uri="{FF2B5EF4-FFF2-40B4-BE49-F238E27FC236}">
                <a16:creationId xmlns:a16="http://schemas.microsoft.com/office/drawing/2014/main" id="{9249D0EF-E879-4649-BCCA-3F68A2E386FE}"/>
              </a:ext>
            </a:extLst>
          </p:cNvPr>
          <p:cNvSpPr txBox="1">
            <a:spLocks/>
          </p:cNvSpPr>
          <p:nvPr/>
        </p:nvSpPr>
        <p:spPr>
          <a:xfrm>
            <a:off x="838199" y="5000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Hedef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Pazarımız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253F86-1D80-7C43-BC30-6454773E378F}"/>
              </a:ext>
            </a:extLst>
          </p:cNvPr>
          <p:cNvSpPr/>
          <p:nvPr/>
        </p:nvSpPr>
        <p:spPr>
          <a:xfrm>
            <a:off x="2213674" y="2133000"/>
            <a:ext cx="7764651" cy="4142935"/>
          </a:xfrm>
          <a:prstGeom prst="rect">
            <a:avLst/>
          </a:prstGeom>
          <a:noFill/>
          <a:ln w="38100"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297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3</TotalTime>
  <Words>376</Words>
  <Application>Microsoft Macintosh PowerPoint</Application>
  <PresentationFormat>Widescreen</PresentationFormat>
  <Paragraphs>81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Calibri Light</vt:lpstr>
      <vt:lpstr>Wingdings</vt:lpstr>
      <vt:lpstr>Office Theme</vt:lpstr>
      <vt:lpstr>think-cell Slide</vt:lpstr>
      <vt:lpstr>  </vt:lpstr>
      <vt:lpstr>İnmenin Mortalite ve Morbiditesi </vt:lpstr>
      <vt:lpstr>PowerPoint Presentation</vt:lpstr>
      <vt:lpstr>Problem Tanımı  </vt:lpstr>
      <vt:lpstr>Çözüm Önerilerimiz</vt:lpstr>
      <vt:lpstr>Çözüm</vt:lpstr>
      <vt:lpstr> </vt:lpstr>
      <vt:lpstr>Hedef Pazarımız</vt:lpstr>
      <vt:lpstr> </vt:lpstr>
      <vt:lpstr> </vt:lpstr>
      <vt:lpstr>Rakip Analizi</vt:lpstr>
      <vt:lpstr>Dinlediğiniz için Teşekkürler</vt:lpstr>
      <vt:lpstr>Takım SFL_ReUnion</vt:lpstr>
      <vt:lpstr>Ekler</vt:lpstr>
      <vt:lpstr>Ekler</vt:lpstr>
      <vt:lpstr>Ekl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Eren Göksu</dc:creator>
  <cp:lastModifiedBy>Ahmet Yüksel</cp:lastModifiedBy>
  <cp:revision>8</cp:revision>
  <dcterms:created xsi:type="dcterms:W3CDTF">2021-11-12T16:43:36Z</dcterms:created>
  <dcterms:modified xsi:type="dcterms:W3CDTF">2021-11-20T16:10:43Z</dcterms:modified>
</cp:coreProperties>
</file>